
<file path=[Content_Types].xml><?xml version="1.0" encoding="utf-8"?>
<Types xmlns="http://schemas.openxmlformats.org/package/2006/content-types">
  <Default Extension="jpeg" ContentType="image/jpeg"/>
  <Default Extension="vml" ContentType="application/vnd.openxmlformats-officedocument.vmlDrawing"/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heme/themeOverride10.xml" ContentType="application/vnd.openxmlformats-officedocument.themeOverride+xml"/>
  <Override PartName="/ppt/theme/themeOverride1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theme/themeOverride5.xml" ContentType="application/vnd.openxmlformats-officedocument.themeOverride+xml"/>
  <Override PartName="/ppt/theme/themeOverride6.xml" ContentType="application/vnd.openxmlformats-officedocument.themeOverride+xml"/>
  <Override PartName="/ppt/theme/themeOverride7.xml" ContentType="application/vnd.openxmlformats-officedocument.themeOverride+xml"/>
  <Override PartName="/ppt/theme/themeOverride8.xml" ContentType="application/vnd.openxmlformats-officedocument.themeOverride+xml"/>
  <Override PartName="/ppt/theme/themeOverride9.xml" ContentType="application/vnd.openxmlformats-officedocument.themeOverrid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7"/>
  </p:notesMasterIdLst>
  <p:sldIdLst>
    <p:sldId id="790" r:id="rId3"/>
    <p:sldId id="814" r:id="rId4"/>
    <p:sldId id="813" r:id="rId5"/>
    <p:sldId id="817" r:id="rId6"/>
    <p:sldId id="925" r:id="rId8"/>
    <p:sldId id="971" r:id="rId9"/>
    <p:sldId id="897" r:id="rId10"/>
    <p:sldId id="1008" r:id="rId11"/>
    <p:sldId id="880" r:id="rId12"/>
    <p:sldId id="1020" r:id="rId13"/>
    <p:sldId id="993" r:id="rId14"/>
    <p:sldId id="1004" r:id="rId15"/>
    <p:sldId id="1022" r:id="rId16"/>
    <p:sldId id="1023" r:id="rId17"/>
    <p:sldId id="995" r:id="rId18"/>
    <p:sldId id="1005" r:id="rId19"/>
    <p:sldId id="748" r:id="rId20"/>
  </p:sldIdLst>
  <p:sldSz cx="12190095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3300"/>
    <a:srgbClr val="CC0000"/>
    <a:srgbClr val="FF0000"/>
    <a:srgbClr val="FF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 horzBarState="maximized">
    <p:restoredLeft sz="15815" autoAdjust="0"/>
    <p:restoredTop sz="88214" autoAdjust="0"/>
  </p:normalViewPr>
  <p:slideViewPr>
    <p:cSldViewPr>
      <p:cViewPr>
        <p:scale>
          <a:sx n="100" d="100"/>
          <a:sy n="100" d="100"/>
        </p:scale>
        <p:origin x="-390" y="-390"/>
      </p:cViewPr>
      <p:guideLst>
        <p:guide orient="horz" pos="2250"/>
        <p:guide pos="3839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>
      <p:cViewPr varScale="1">
        <p:scale>
          <a:sx n="51" d="100"/>
          <a:sy n="51" d="100"/>
        </p:scale>
        <p:origin x="-2652" y="-96"/>
      </p:cViewPr>
      <p:guideLst>
        <p:guide orient="horz" pos="3001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notesMaster" Target="notesMasters/notesMaster1.xml"/><Relationship Id="rId6" Type="http://schemas.openxmlformats.org/officeDocument/2006/relationships/slide" Target="slides/slide4.xml"/><Relationship Id="rId5" Type="http://schemas.openxmlformats.org/officeDocument/2006/relationships/slide" Target="slides/slide3.xml"/><Relationship Id="rId4" Type="http://schemas.openxmlformats.org/officeDocument/2006/relationships/slide" Target="slides/slide2.xml"/><Relationship Id="rId3" Type="http://schemas.openxmlformats.org/officeDocument/2006/relationships/slide" Target="slides/slide1.xml"/><Relationship Id="rId23" Type="http://schemas.openxmlformats.org/officeDocument/2006/relationships/tableStyles" Target="tableStyles.xml"/><Relationship Id="rId22" Type="http://schemas.openxmlformats.org/officeDocument/2006/relationships/viewProps" Target="viewProps.xml"/><Relationship Id="rId21" Type="http://schemas.openxmlformats.org/officeDocument/2006/relationships/presProps" Target="presProps.xml"/><Relationship Id="rId20" Type="http://schemas.openxmlformats.org/officeDocument/2006/relationships/slide" Target="slides/slide17.xml"/><Relationship Id="rId2" Type="http://schemas.openxmlformats.org/officeDocument/2006/relationships/theme" Target="theme/theme1.xml"/><Relationship Id="rId19" Type="http://schemas.openxmlformats.org/officeDocument/2006/relationships/slide" Target="slides/slide16.xml"/><Relationship Id="rId18" Type="http://schemas.openxmlformats.org/officeDocument/2006/relationships/slide" Target="slides/slide15.xml"/><Relationship Id="rId17" Type="http://schemas.openxmlformats.org/officeDocument/2006/relationships/slide" Target="slides/slide14.xml"/><Relationship Id="rId16" Type="http://schemas.openxmlformats.org/officeDocument/2006/relationships/slide" Target="slides/slide13.xml"/><Relationship Id="rId15" Type="http://schemas.openxmlformats.org/officeDocument/2006/relationships/slide" Target="slides/slide12.xml"/><Relationship Id="rId14" Type="http://schemas.openxmlformats.org/officeDocument/2006/relationships/slide" Target="slides/slide11.xml"/><Relationship Id="rId13" Type="http://schemas.openxmlformats.org/officeDocument/2006/relationships/slide" Target="slides/slide10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6ADA0BF-113A-41EB-965D-B524B0BC061D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382588" y="685800"/>
            <a:ext cx="609282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 dirty="0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5B7CD97-2593-4EA6-9AC8-E7ACE9104CCF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0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2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en-US" altLang="zh-CN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914281" y="2130432"/>
            <a:ext cx="10361851" cy="1470025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828562" y="3886200"/>
            <a:ext cx="8533289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A02A28-C7FA-480D-8CDF-860309114520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884BC9-6CF7-4F5F-90AB-E345396CDAC2}" type="slidenum">
              <a:rPr lang="zh-CN" altLang="en-US" smtClean="0"/>
            </a:fld>
            <a:endParaRPr lang="zh-CN" altLang="en-US"/>
          </a:p>
        </p:txBody>
      </p:sp>
      <p:sp>
        <p:nvSpPr>
          <p:cNvPr id="7" name="矩形 6"/>
          <p:cNvSpPr/>
          <p:nvPr userDrawn="1"/>
        </p:nvSpPr>
        <p:spPr>
          <a:xfrm>
            <a:off x="6623874" y="3212976"/>
            <a:ext cx="5519217" cy="1584176"/>
          </a:xfrm>
          <a:prstGeom prst="rect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8" name="图片 7" descr="图片1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6425116" cy="6858000"/>
          </a:xfrm>
          <a:prstGeom prst="rect">
            <a:avLst/>
          </a:prstGeom>
        </p:spPr>
      </p:pic>
      <p:pic>
        <p:nvPicPr>
          <p:cNvPr id="9" name="Picture 3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829914" y="1"/>
            <a:ext cx="3360499" cy="9310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A02A28-C7FA-480D-8CDF-860309114520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884BC9-6CF7-4F5F-90AB-E345396CDAC2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11784069" y="274639"/>
            <a:ext cx="3655008" cy="5851525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12694" y="274639"/>
            <a:ext cx="10768198" cy="5851525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A02A28-C7FA-480D-8CDF-860309114520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884BC9-6CF7-4F5F-90AB-E345396CDAC2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直接连接符 6"/>
          <p:cNvCxnSpPr/>
          <p:nvPr userDrawn="1"/>
        </p:nvCxnSpPr>
        <p:spPr>
          <a:xfrm>
            <a:off x="1" y="908719"/>
            <a:ext cx="9551141" cy="0"/>
          </a:xfrm>
          <a:prstGeom prst="line">
            <a:avLst/>
          </a:prstGeom>
          <a:ln w="19050">
            <a:solidFill>
              <a:srgbClr val="FFC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8" name="直角三角形 7"/>
          <p:cNvSpPr/>
          <p:nvPr userDrawn="1"/>
        </p:nvSpPr>
        <p:spPr>
          <a:xfrm rot="16200000">
            <a:off x="10690877" y="5358464"/>
            <a:ext cx="1115616" cy="1883456"/>
          </a:xfrm>
          <a:prstGeom prst="rtTriangl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9" name="Picture 3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647139" y="348120"/>
            <a:ext cx="2543274" cy="7046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4C07F3-9D28-4F74-8C11-7279E2A9C67E}" type="datetime1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884BC9-6CF7-4F5F-90AB-E345396CDAC2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A02A28-C7FA-480D-8CDF-860309114520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884BC9-6CF7-4F5F-90AB-E345396CDAC2}" type="slidenum">
              <a:rPr lang="zh-CN" altLang="en-US" smtClean="0"/>
            </a:fld>
            <a:endParaRPr lang="zh-CN" altLang="en-US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1" y="908720"/>
            <a:ext cx="9551141" cy="0"/>
          </a:xfrm>
          <a:prstGeom prst="line">
            <a:avLst/>
          </a:prstGeom>
          <a:ln w="19050">
            <a:solidFill>
              <a:srgbClr val="FFC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8" name="直角三角形 7"/>
          <p:cNvSpPr/>
          <p:nvPr userDrawn="1"/>
        </p:nvSpPr>
        <p:spPr>
          <a:xfrm rot="16200000">
            <a:off x="10690877" y="5358464"/>
            <a:ext cx="1115616" cy="1883456"/>
          </a:xfrm>
          <a:prstGeom prst="rtTriangl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9" name="Picture 3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647139" y="348120"/>
            <a:ext cx="2543274" cy="7046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962960" y="4406907"/>
            <a:ext cx="10361851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962960" y="2906713"/>
            <a:ext cx="10361851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A02A28-C7FA-480D-8CDF-860309114520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884BC9-6CF7-4F5F-90AB-E345396CDAC2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12699" y="1600204"/>
            <a:ext cx="721054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226413" y="1600204"/>
            <a:ext cx="721266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A02A28-C7FA-480D-8CDF-860309114520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884BC9-6CF7-4F5F-90AB-E345396CDAC2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521" y="274638"/>
            <a:ext cx="10971372" cy="1143000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09521" y="1535113"/>
            <a:ext cx="5386216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09521" y="2174875"/>
            <a:ext cx="5386216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92561" y="1535113"/>
            <a:ext cx="5388332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92561" y="2174875"/>
            <a:ext cx="5388332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A02A28-C7FA-480D-8CDF-860309114520}" type="datetimeFigureOut">
              <a:rPr lang="zh-CN" altLang="en-US" smtClean="0"/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884BC9-6CF7-4F5F-90AB-E345396CDAC2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A02A28-C7FA-480D-8CDF-860309114520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884BC9-6CF7-4F5F-90AB-E345396CDAC2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A02A28-C7FA-480D-8CDF-860309114520}" type="datetimeFigureOut">
              <a:rPr lang="zh-CN" altLang="en-US" smtClean="0"/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884BC9-6CF7-4F5F-90AB-E345396CDAC2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521" y="273050"/>
            <a:ext cx="4010562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766113" y="273052"/>
            <a:ext cx="681477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09521" y="1435102"/>
            <a:ext cx="4010562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A02A28-C7FA-480D-8CDF-860309114520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884BC9-6CF7-4F5F-90AB-E345396CDAC2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389406" y="4800600"/>
            <a:ext cx="7314248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2389406" y="612775"/>
            <a:ext cx="7314248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2389406" y="5367338"/>
            <a:ext cx="7314248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A02A28-C7FA-480D-8CDF-860309114520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884BC9-6CF7-4F5F-90AB-E345396CDAC2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3" Type="http://schemas.openxmlformats.org/officeDocument/2006/relationships/theme" Target="../theme/theme1.xml"/><Relationship Id="rId12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09521" y="274638"/>
            <a:ext cx="10971372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09521" y="1600204"/>
            <a:ext cx="10971372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09520" y="6356357"/>
            <a:ext cx="284443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1A02A28-C7FA-480D-8CDF-860309114520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165058" y="6356357"/>
            <a:ext cx="386029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736463" y="6356357"/>
            <a:ext cx="284443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9884BC9-6CF7-4F5F-90AB-E345396CDAC2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1.v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2.xml"/><Relationship Id="rId3" Type="http://schemas.openxmlformats.org/officeDocument/2006/relationships/image" Target="../media/image4.emf"/><Relationship Id="rId2" Type="http://schemas.openxmlformats.org/officeDocument/2006/relationships/oleObject" Target="../embeddings/oleObject1.bin"/><Relationship Id="rId1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4.xml"/><Relationship Id="rId3" Type="http://schemas.openxmlformats.org/officeDocument/2006/relationships/slideLayout" Target="../slideLayouts/slideLayout2.xml"/><Relationship Id="rId2" Type="http://schemas.openxmlformats.org/officeDocument/2006/relationships/themeOverride" Target="../theme/themeOverride6.xml"/><Relationship Id="rId1" Type="http://schemas.openxmlformats.org/officeDocument/2006/relationships/image" Target="../media/image8.png"/></Relationships>
</file>

<file path=ppt/slides/_rels/slide11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5.v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10.xml"/><Relationship Id="rId3" Type="http://schemas.openxmlformats.org/officeDocument/2006/relationships/image" Target="../media/image4.emf"/><Relationship Id="rId2" Type="http://schemas.openxmlformats.org/officeDocument/2006/relationships/oleObject" Target="../embeddings/oleObject5.bin"/><Relationship Id="rId1" Type="http://schemas.openxmlformats.org/officeDocument/2006/relationships/tags" Target="../tags/tag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hemeOverride" Target="../theme/themeOverride8.xml"/><Relationship Id="rId1" Type="http://schemas.openxmlformats.org/officeDocument/2006/relationships/image" Target="../media/image9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9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1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hemeOverride" Target="../theme/themeOverride11.xml"/><Relationship Id="rId1" Type="http://schemas.openxmlformats.org/officeDocument/2006/relationships/image" Target="../media/image10.png"/></Relationships>
</file>

<file path=ppt/slides/_rels/slide17.xml.rels><?xml version="1.0" encoding="UTF-8" standalone="yes"?>
<Relationships xmlns="http://schemas.openxmlformats.org/package/2006/relationships"><Relationship Id="rId9" Type="http://schemas.openxmlformats.org/officeDocument/2006/relationships/image" Target="../media/image2.png"/><Relationship Id="rId8" Type="http://schemas.openxmlformats.org/officeDocument/2006/relationships/tags" Target="../tags/tag15.xml"/><Relationship Id="rId7" Type="http://schemas.openxmlformats.org/officeDocument/2006/relationships/tags" Target="../tags/tag14.xml"/><Relationship Id="rId6" Type="http://schemas.openxmlformats.org/officeDocument/2006/relationships/tags" Target="../tags/tag13.xml"/><Relationship Id="rId5" Type="http://schemas.openxmlformats.org/officeDocument/2006/relationships/image" Target="../media/image11.jpeg"/><Relationship Id="rId4" Type="http://schemas.openxmlformats.org/officeDocument/2006/relationships/tags" Target="../tags/tag12.xml"/><Relationship Id="rId3" Type="http://schemas.openxmlformats.org/officeDocument/2006/relationships/image" Target="../media/image4.emf"/><Relationship Id="rId2" Type="http://schemas.openxmlformats.org/officeDocument/2006/relationships/oleObject" Target="../embeddings/oleObject6.bin"/><Relationship Id="rId12" Type="http://schemas.openxmlformats.org/officeDocument/2006/relationships/vmlDrawing" Target="../drawings/vmlDrawing6.vml"/><Relationship Id="rId11" Type="http://schemas.openxmlformats.org/officeDocument/2006/relationships/slideLayout" Target="../slideLayouts/slideLayout1.xml"/><Relationship Id="rId10" Type="http://schemas.openxmlformats.org/officeDocument/2006/relationships/tags" Target="../tags/tag16.xml"/><Relationship Id="rId1" Type="http://schemas.openxmlformats.org/officeDocument/2006/relationships/tags" Target="../tags/tag1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1.xml"/></Relationships>
</file>

<file path=ppt/slides/_rels/slide3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2.v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4.xml"/><Relationship Id="rId3" Type="http://schemas.openxmlformats.org/officeDocument/2006/relationships/image" Target="../media/image4.emf"/><Relationship Id="rId2" Type="http://schemas.openxmlformats.org/officeDocument/2006/relationships/oleObject" Target="../embeddings/oleObject2.bin"/><Relationship Id="rId1" Type="http://schemas.openxmlformats.org/officeDocument/2006/relationships/tags" Target="../tags/tag3.xml"/></Relationships>
</file>

<file path=ppt/slides/_rels/slide4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1.xml"/><Relationship Id="rId3" Type="http://schemas.openxmlformats.org/officeDocument/2006/relationships/slideLayout" Target="../slideLayouts/slideLayout2.xml"/><Relationship Id="rId2" Type="http://schemas.openxmlformats.org/officeDocument/2006/relationships/themeOverride" Target="../theme/themeOverride2.xml"/><Relationship Id="rId1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2.xml"/><Relationship Id="rId3" Type="http://schemas.openxmlformats.org/officeDocument/2006/relationships/slideLayout" Target="../slideLayouts/slideLayout2.xml"/><Relationship Id="rId2" Type="http://schemas.openxmlformats.org/officeDocument/2006/relationships/themeOverride" Target="../theme/themeOverride3.xml"/><Relationship Id="rId1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4.xml"/></Relationships>
</file>

<file path=ppt/slides/_rels/slide7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3.v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6.xml"/><Relationship Id="rId3" Type="http://schemas.openxmlformats.org/officeDocument/2006/relationships/image" Target="../media/image4.emf"/><Relationship Id="rId2" Type="http://schemas.openxmlformats.org/officeDocument/2006/relationships/oleObject" Target="../embeddings/oleObject3.bin"/><Relationship Id="rId1" Type="http://schemas.openxmlformats.org/officeDocument/2006/relationships/tags" Target="../tags/tag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hemeOverride" Target="../theme/themeOverride5.xml"/><Relationship Id="rId1" Type="http://schemas.openxmlformats.org/officeDocument/2006/relationships/image" Target="../media/image7.png"/></Relationships>
</file>

<file path=ppt/slides/_rels/slide9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4.v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8.xml"/><Relationship Id="rId3" Type="http://schemas.openxmlformats.org/officeDocument/2006/relationships/image" Target="../media/image4.emf"/><Relationship Id="rId2" Type="http://schemas.openxmlformats.org/officeDocument/2006/relationships/oleObject" Target="../embeddings/oleObject4.bin"/><Relationship Id="rId1" Type="http://schemas.openxmlformats.org/officeDocument/2006/relationships/tags" Target="../tags/tag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2" imgW="12700" imgH="12700" progId="">
                  <p:embed/>
                </p:oleObj>
              </mc:Choice>
              <mc:Fallback>
                <p:oleObj name="think-cell Slide" r:id="rId2" imgW="12700" imgH="12700" progId="">
                  <p:embed/>
                  <p:pic>
                    <p:nvPicPr>
                      <p:cNvPr id="0" name="图片 1024" descr="image4"/>
                      <p:cNvPicPr>
                        <a:picLocks noChangeAspect="1"/>
                      </p:cNvPicPr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 w="9525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3"/>
          <p:cNvSpPr txBox="1">
            <a:spLocks noGrp="1" noChangeArrowheads="1"/>
          </p:cNvSpPr>
          <p:nvPr>
            <p:ph type="ctrTitle"/>
            <p:custDataLst>
              <p:tags r:id="rId4"/>
            </p:custDataLst>
          </p:nvPr>
        </p:nvSpPr>
        <p:spPr>
          <a:xfrm>
            <a:off x="6637842" y="3489960"/>
            <a:ext cx="5308756" cy="105918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 algn="ctr">
              <a:tabLst>
                <a:tab pos="82550" algn="l"/>
              </a:tabLst>
              <a:defRPr/>
            </a:pPr>
            <a:r>
              <a:rPr kumimoji="0" lang="zh-CN" sz="4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sym typeface="+mn-ea"/>
              </a:rPr>
              <a:t>设计模式</a:t>
            </a:r>
            <a:endParaRPr kumimoji="0" lang="zh-CN" sz="48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sym typeface="+mn-ea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9289464" y="5202413"/>
            <a:ext cx="2391410" cy="4178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CRM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研发部 张文博</a:t>
            </a:r>
            <a:endParaRPr lang="zh-CN" altLang="en-US" sz="2000" b="1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框 7"/>
          <p:cNvSpPr txBox="1"/>
          <p:nvPr/>
        </p:nvSpPr>
        <p:spPr>
          <a:xfrm>
            <a:off x="861695" y="737235"/>
            <a:ext cx="2125980" cy="92202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 algn="l"/>
            <a:r>
              <a:rPr lang="zh-CN" altLang="en-US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  <a:latin typeface="华文宋体" charset="-122"/>
                <a:ea typeface="华文宋体" charset="-122"/>
                <a:sym typeface="+mn-ea"/>
              </a:rPr>
              <a:t>面向对象编程原则</a:t>
            </a:r>
            <a:r>
              <a:rPr lang="en-US" altLang="zh-CN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  <a:latin typeface="华文宋体" charset="-122"/>
                <a:ea typeface="华文宋体" charset="-122"/>
                <a:sym typeface="+mn-ea"/>
              </a:rPr>
              <a:t>:</a:t>
            </a:r>
            <a:endParaRPr lang="zh-CN" altLang="en-US">
              <a:latin typeface="Arial" panose="020B0604020202020204" pitchFamily="34" charset="0"/>
              <a:ea typeface="宋体" panose="02010600030101010101" pitchFamily="2" charset="-122"/>
            </a:endParaRPr>
          </a:p>
          <a:p>
            <a:pPr algn="l"/>
            <a:endParaRPr lang="en-US" altLang="zh-CN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  <a:latin typeface="华文宋体" charset="-122"/>
              <a:ea typeface="华文宋体" charset="-122"/>
              <a:sym typeface="+mn-ea"/>
            </a:endParaRPr>
          </a:p>
          <a:p>
            <a:pPr algn="l"/>
            <a:r>
              <a:rPr lang="en-US" altLang="zh-CN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  <a:latin typeface="华文宋体" charset="-122"/>
                <a:ea typeface="华文宋体" charset="-122"/>
                <a:sym typeface="+mn-ea"/>
              </a:rPr>
              <a:t>     </a:t>
            </a:r>
            <a:endParaRPr lang="zh-CN" altLang="en-US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  <a:latin typeface="华文宋体" charset="-122"/>
              <a:ea typeface="华文宋体" charset="-122"/>
              <a:sym typeface="+mn-ea"/>
            </a:endParaRPr>
          </a:p>
        </p:txBody>
      </p:sp>
      <p:pic>
        <p:nvPicPr>
          <p:cNvPr id="11" name="图片 10" descr="设计模式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065530" y="2079625"/>
            <a:ext cx="10058400" cy="269875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think-cell Slide" r:id="rId2" imgW="12700" imgH="12700" progId="">
                  <p:embed/>
                </p:oleObj>
              </mc:Choice>
              <mc:Fallback>
                <p:oleObj name="think-cell Slide" r:id="rId2" imgW="12700" imgH="12700" progId="">
                  <p:embed/>
                  <p:pic>
                    <p:nvPicPr>
                      <p:cNvPr id="0" name="图片 2048" descr="image4"/>
                      <p:cNvPicPr>
                        <a:picLocks noChangeAspect="1"/>
                      </p:cNvPicPr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 w="9525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3"/>
          <p:cNvSpPr txBox="1">
            <a:spLocks noGrp="1" noChangeArrowheads="1"/>
          </p:cNvSpPr>
          <p:nvPr>
            <p:ph type="ctrTitle"/>
            <p:custDataLst>
              <p:tags r:id="rId4"/>
            </p:custDataLst>
          </p:nvPr>
        </p:nvSpPr>
        <p:spPr>
          <a:xfrm>
            <a:off x="6706422" y="3489960"/>
            <a:ext cx="5308756" cy="105918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 algn="ctr">
              <a:tabLst>
                <a:tab pos="82550" algn="l"/>
              </a:tabLst>
              <a:defRPr/>
            </a:pPr>
            <a:r>
              <a:rPr kumimoji="0" lang="zh-CN" altLang="en-US" sz="4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sym typeface="+mn-ea"/>
              </a:rPr>
              <a:t>总结</a:t>
            </a:r>
            <a:endParaRPr kumimoji="0" lang="zh-CN" altLang="en-US" sz="48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sym typeface="+mn-e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hape 34"/>
          <p:cNvSpPr>
            <a:spLocks noChangeArrowheads="1"/>
          </p:cNvSpPr>
          <p:nvPr/>
        </p:nvSpPr>
        <p:spPr bwMode="auto">
          <a:xfrm>
            <a:off x="2864485" y="2240280"/>
            <a:ext cx="6127750" cy="758825"/>
          </a:xfrm>
          <a:prstGeom prst="roundRect">
            <a:avLst>
              <a:gd name="adj" fmla="val 20269"/>
            </a:avLst>
          </a:prstGeom>
          <a:solidFill>
            <a:schemeClr val="accent4"/>
          </a:solidFill>
          <a:ln w="9525">
            <a:noFill/>
            <a:round/>
          </a:ln>
          <a:effectLst/>
        </p:spPr>
        <p:txBody>
          <a:bodyPr lIns="0" tIns="0" rIns="0" bIns="0" anchor="ctr"/>
          <a:p>
            <a:pPr algn="ctr" eaLnBrk="0" hangingPunct="0"/>
            <a:r>
              <a:rPr lang="en-US" altLang="zh-CN" sz="2400">
                <a:solidFill>
                  <a:srgbClr val="FFFFFF"/>
                </a:solidFill>
                <a:latin typeface="Helvetica" charset="0"/>
                <a:sym typeface="Helvetica" charset="0"/>
              </a:rPr>
              <a:t>23</a:t>
            </a:r>
            <a:r>
              <a:rPr lang="zh-CN" altLang="en-US" sz="2400">
                <a:solidFill>
                  <a:srgbClr val="FFFFFF"/>
                </a:solidFill>
                <a:latin typeface="Helvetica" charset="0"/>
                <a:sym typeface="Helvetica" charset="0"/>
              </a:rPr>
              <a:t>种设计模式总结</a:t>
            </a:r>
            <a:endParaRPr lang="zh-CN" altLang="en-US" sz="2400">
              <a:solidFill>
                <a:srgbClr val="FFFFFF"/>
              </a:solidFill>
              <a:latin typeface="Helvetica" charset="0"/>
              <a:sym typeface="Helvetica" charset="0"/>
            </a:endParaRPr>
          </a:p>
        </p:txBody>
      </p:sp>
      <p:sp>
        <p:nvSpPr>
          <p:cNvPr id="3" name="Shape 34"/>
          <p:cNvSpPr>
            <a:spLocks noChangeArrowheads="1"/>
          </p:cNvSpPr>
          <p:nvPr/>
        </p:nvSpPr>
        <p:spPr bwMode="auto">
          <a:xfrm>
            <a:off x="2864485" y="3206115"/>
            <a:ext cx="6127750" cy="758825"/>
          </a:xfrm>
          <a:prstGeom prst="roundRect">
            <a:avLst>
              <a:gd name="adj" fmla="val 20269"/>
            </a:avLst>
          </a:prstGeom>
          <a:solidFill>
            <a:schemeClr val="accent4"/>
          </a:solidFill>
          <a:ln w="9525">
            <a:noFill/>
            <a:round/>
          </a:ln>
          <a:effectLst/>
        </p:spPr>
        <p:txBody>
          <a:bodyPr lIns="0" tIns="0" rIns="0" bIns="0" anchor="ctr"/>
          <a:p>
            <a:pPr algn="ctr" eaLnBrk="0" hangingPunct="0"/>
            <a:r>
              <a:rPr lang="zh-CN" sz="2400">
                <a:solidFill>
                  <a:srgbClr val="FFFFFF"/>
                </a:solidFill>
                <a:latin typeface="Helvetica" charset="0"/>
                <a:sym typeface="Helvetica" charset="0"/>
              </a:rPr>
              <a:t>选择设计模式</a:t>
            </a:r>
            <a:endParaRPr lang="zh-CN" sz="2400">
              <a:solidFill>
                <a:srgbClr val="FFFFFF"/>
              </a:solidFill>
              <a:latin typeface="Helvetica" charset="0"/>
              <a:sym typeface="Helvetica" charset="0"/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bldLvl="0" animBg="1" autoUpdateAnimBg="0"/>
      <p:bldP spid="3" grpId="0" bldLvl="0" animBg="1" autoUpdateAnimBg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>
          <a:xfrm>
            <a:off x="403860" y="445135"/>
            <a:ext cx="1668780" cy="92202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 algn="l"/>
            <a:r>
              <a:rPr lang="en-US" altLang="zh-CN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  <a:latin typeface="华文宋体" charset="-122"/>
                <a:ea typeface="华文宋体" charset="-122"/>
                <a:sym typeface="+mn-ea"/>
              </a:rPr>
              <a:t>23</a:t>
            </a:r>
            <a:r>
              <a:rPr lang="zh-CN" altLang="en-US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  <a:latin typeface="华文宋体" charset="-122"/>
                <a:ea typeface="华文宋体" charset="-122"/>
                <a:sym typeface="+mn-ea"/>
              </a:rPr>
              <a:t>种设计模式</a:t>
            </a:r>
            <a:r>
              <a:rPr lang="en-US" altLang="zh-CN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  <a:latin typeface="华文宋体" charset="-122"/>
                <a:ea typeface="华文宋体" charset="-122"/>
                <a:sym typeface="+mn-ea"/>
              </a:rPr>
              <a:t>:</a:t>
            </a:r>
            <a:endParaRPr lang="zh-CN" altLang="en-US">
              <a:latin typeface="Arial" panose="020B0604020202020204" pitchFamily="34" charset="0"/>
              <a:ea typeface="宋体" panose="02010600030101010101" pitchFamily="2" charset="-122"/>
            </a:endParaRPr>
          </a:p>
          <a:p>
            <a:pPr algn="l"/>
            <a:endParaRPr lang="en-US" altLang="zh-CN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  <a:latin typeface="华文宋体" charset="-122"/>
              <a:ea typeface="华文宋体" charset="-122"/>
              <a:sym typeface="+mn-ea"/>
            </a:endParaRPr>
          </a:p>
          <a:p>
            <a:pPr algn="l"/>
            <a:r>
              <a:rPr lang="en-US" altLang="zh-CN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  <a:latin typeface="华文宋体" charset="-122"/>
                <a:ea typeface="华文宋体" charset="-122"/>
                <a:sym typeface="+mn-ea"/>
              </a:rPr>
              <a:t>     </a:t>
            </a:r>
            <a:endParaRPr lang="zh-CN" altLang="en-US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  <a:latin typeface="华文宋体" charset="-122"/>
              <a:ea typeface="华文宋体" charset="-122"/>
              <a:sym typeface="+mn-ea"/>
            </a:endParaRPr>
          </a:p>
        </p:txBody>
      </p:sp>
      <p:pic>
        <p:nvPicPr>
          <p:cNvPr id="3" name="图片 2" descr="设计模式 (1)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562610" y="2127885"/>
            <a:ext cx="11400790" cy="289052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>
          <a:xfrm>
            <a:off x="403860" y="445135"/>
            <a:ext cx="1211580" cy="92202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 algn="l"/>
            <a:r>
              <a:rPr lang="zh-CN" altLang="en-US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  <a:latin typeface="华文宋体" charset="-122"/>
                <a:ea typeface="华文宋体" charset="-122"/>
                <a:sym typeface="+mn-ea"/>
              </a:rPr>
              <a:t>如何选择</a:t>
            </a:r>
            <a:r>
              <a:rPr lang="en-US" altLang="zh-CN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  <a:latin typeface="华文宋体" charset="-122"/>
                <a:ea typeface="华文宋体" charset="-122"/>
                <a:sym typeface="+mn-ea"/>
              </a:rPr>
              <a:t>:</a:t>
            </a:r>
            <a:endParaRPr lang="zh-CN" altLang="en-US">
              <a:latin typeface="Arial" panose="020B0604020202020204" pitchFamily="34" charset="0"/>
              <a:ea typeface="宋体" panose="02010600030101010101" pitchFamily="2" charset="-122"/>
            </a:endParaRPr>
          </a:p>
          <a:p>
            <a:pPr algn="l"/>
            <a:endParaRPr lang="en-US" altLang="zh-CN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  <a:latin typeface="华文宋体" charset="-122"/>
              <a:ea typeface="华文宋体" charset="-122"/>
              <a:sym typeface="+mn-ea"/>
            </a:endParaRPr>
          </a:p>
          <a:p>
            <a:pPr algn="l"/>
            <a:r>
              <a:rPr lang="en-US" altLang="zh-CN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  <a:latin typeface="华文宋体" charset="-122"/>
                <a:ea typeface="华文宋体" charset="-122"/>
                <a:sym typeface="+mn-ea"/>
              </a:rPr>
              <a:t>     </a:t>
            </a:r>
            <a:endParaRPr lang="zh-CN" altLang="en-US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  <a:latin typeface="华文宋体" charset="-122"/>
              <a:ea typeface="华文宋体" charset="-122"/>
              <a:sym typeface="+mn-ea"/>
            </a:endParaRPr>
          </a:p>
        </p:txBody>
      </p:sp>
      <p:sp>
        <p:nvSpPr>
          <p:cNvPr id="9" name="Shape 34"/>
          <p:cNvSpPr>
            <a:spLocks noChangeArrowheads="1"/>
          </p:cNvSpPr>
          <p:nvPr/>
        </p:nvSpPr>
        <p:spPr bwMode="auto">
          <a:xfrm>
            <a:off x="3718560" y="1412875"/>
            <a:ext cx="5059045" cy="781685"/>
          </a:xfrm>
          <a:prstGeom prst="roundRect">
            <a:avLst>
              <a:gd name="adj" fmla="val 20269"/>
            </a:avLst>
          </a:prstGeom>
          <a:solidFill>
            <a:schemeClr val="accent4"/>
          </a:solidFill>
          <a:ln w="9525">
            <a:noFill/>
            <a:round/>
          </a:ln>
          <a:effectLst/>
        </p:spPr>
        <p:txBody>
          <a:bodyPr lIns="0" tIns="0" rIns="0" bIns="0" anchor="ctr"/>
          <a:p>
            <a:pPr algn="ctr" eaLnBrk="0" hangingPunct="0"/>
            <a:r>
              <a:rPr lang="zh-CN" sz="2400">
                <a:solidFill>
                  <a:srgbClr val="FFFFFF"/>
                </a:solidFill>
                <a:latin typeface="Helvetica" charset="0"/>
                <a:sym typeface="Helvetica" charset="0"/>
              </a:rPr>
              <a:t>选择</a:t>
            </a:r>
            <a:endParaRPr lang="zh-CN" sz="2400">
              <a:solidFill>
                <a:srgbClr val="FFFFFF"/>
              </a:solidFill>
              <a:latin typeface="Helvetica" charset="0"/>
              <a:sym typeface="Helvetica" charset="0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2494280" y="2605405"/>
            <a:ext cx="7869555" cy="147637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 algn="l"/>
            <a:r>
              <a:rPr lang="zh-CN" altLang="en-US"/>
              <a:t>创建型模式：对象实例化的模式，创建型模式用于解耦对象的实例化过程。</a:t>
            </a:r>
            <a:endParaRPr lang="zh-CN" altLang="en-US"/>
          </a:p>
          <a:p>
            <a:pPr algn="l"/>
            <a:endParaRPr lang="zh-CN" altLang="en-US"/>
          </a:p>
          <a:p>
            <a:pPr algn="l"/>
            <a:r>
              <a:rPr lang="zh-CN" altLang="en-US"/>
              <a:t>结构型模式：把类或对象结合在一起形成一个更大的结构。</a:t>
            </a:r>
            <a:endParaRPr lang="zh-CN" altLang="en-US"/>
          </a:p>
          <a:p>
            <a:pPr algn="l"/>
            <a:endParaRPr lang="zh-CN" altLang="en-US"/>
          </a:p>
          <a:p>
            <a:pPr algn="l"/>
            <a:r>
              <a:rPr lang="zh-CN" altLang="en-US"/>
              <a:t>行为型模式：类和对象如何交互，及划分责任和算法。</a:t>
            </a:r>
            <a:endParaRPr lang="zh-CN" altLang="en-US"/>
          </a:p>
        </p:txBody>
      </p:sp>
      <p:sp>
        <p:nvSpPr>
          <p:cNvPr id="3" name="文本框 2"/>
          <p:cNvSpPr txBox="1"/>
          <p:nvPr/>
        </p:nvSpPr>
        <p:spPr>
          <a:xfrm>
            <a:off x="2570480" y="4401820"/>
            <a:ext cx="7869555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 algn="ctr"/>
            <a:r>
              <a:rPr lang="zh-CN" altLang="en-US" b="1"/>
              <a:t>基于大模型，选择小模型</a:t>
            </a:r>
            <a:endParaRPr lang="zh-CN" altLang="en-US" b="1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bldLvl="0" animBg="1" autoUpdateAnimBg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>
          <a:xfrm>
            <a:off x="403860" y="445135"/>
            <a:ext cx="754380" cy="92202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 algn="l"/>
            <a:r>
              <a:rPr lang="zh-CN" altLang="en-US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  <a:latin typeface="华文宋体" charset="-122"/>
                <a:ea typeface="华文宋体" charset="-122"/>
                <a:sym typeface="+mn-ea"/>
              </a:rPr>
              <a:t>总述</a:t>
            </a:r>
            <a:r>
              <a:rPr lang="en-US" altLang="zh-CN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  <a:latin typeface="华文宋体" charset="-122"/>
                <a:ea typeface="华文宋体" charset="-122"/>
                <a:sym typeface="+mn-ea"/>
              </a:rPr>
              <a:t>:</a:t>
            </a:r>
            <a:endParaRPr lang="zh-CN" altLang="en-US">
              <a:latin typeface="Arial" panose="020B0604020202020204" pitchFamily="34" charset="0"/>
              <a:ea typeface="宋体" panose="02010600030101010101" pitchFamily="2" charset="-122"/>
            </a:endParaRPr>
          </a:p>
          <a:p>
            <a:pPr algn="l"/>
            <a:endParaRPr lang="en-US" altLang="zh-CN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  <a:latin typeface="华文宋体" charset="-122"/>
              <a:ea typeface="华文宋体" charset="-122"/>
              <a:sym typeface="+mn-ea"/>
            </a:endParaRPr>
          </a:p>
          <a:p>
            <a:pPr algn="l"/>
            <a:r>
              <a:rPr lang="en-US" altLang="zh-CN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  <a:latin typeface="华文宋体" charset="-122"/>
                <a:ea typeface="华文宋体" charset="-122"/>
                <a:sym typeface="+mn-ea"/>
              </a:rPr>
              <a:t>     </a:t>
            </a:r>
            <a:endParaRPr lang="zh-CN" altLang="en-US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  <a:latin typeface="华文宋体" charset="-122"/>
              <a:ea typeface="华文宋体" charset="-122"/>
              <a:sym typeface="+mn-ea"/>
            </a:endParaRPr>
          </a:p>
        </p:txBody>
      </p:sp>
      <p:sp>
        <p:nvSpPr>
          <p:cNvPr id="9" name="Shape 34"/>
          <p:cNvSpPr>
            <a:spLocks noChangeArrowheads="1"/>
          </p:cNvSpPr>
          <p:nvPr/>
        </p:nvSpPr>
        <p:spPr bwMode="auto">
          <a:xfrm>
            <a:off x="3718560" y="1412875"/>
            <a:ext cx="5059045" cy="781685"/>
          </a:xfrm>
          <a:prstGeom prst="roundRect">
            <a:avLst>
              <a:gd name="adj" fmla="val 20269"/>
            </a:avLst>
          </a:prstGeom>
          <a:solidFill>
            <a:schemeClr val="accent4"/>
          </a:solidFill>
          <a:ln w="9525">
            <a:noFill/>
            <a:round/>
          </a:ln>
          <a:effectLst/>
        </p:spPr>
        <p:txBody>
          <a:bodyPr lIns="0" tIns="0" rIns="0" bIns="0" anchor="ctr"/>
          <a:p>
            <a:pPr algn="ctr" eaLnBrk="0" hangingPunct="0"/>
            <a:r>
              <a:rPr lang="zh-CN" sz="2400">
                <a:solidFill>
                  <a:srgbClr val="FFFFFF"/>
                </a:solidFill>
                <a:latin typeface="Helvetica" charset="0"/>
                <a:sym typeface="Helvetica" charset="0"/>
              </a:rPr>
              <a:t>总结</a:t>
            </a:r>
            <a:endParaRPr lang="zh-CN" sz="2400">
              <a:solidFill>
                <a:srgbClr val="FFFFFF"/>
              </a:solidFill>
              <a:latin typeface="Helvetica" charset="0"/>
              <a:sym typeface="Helvetica" charset="0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2494280" y="2997200"/>
            <a:ext cx="7392670" cy="147637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 algn="ctr"/>
            <a:r>
              <a:rPr lang="zh-CN" altLang="en-US" b="1"/>
              <a:t>不要去为了使用设计模式而设计</a:t>
            </a:r>
            <a:endParaRPr lang="zh-CN" altLang="en-US" b="1"/>
          </a:p>
          <a:p>
            <a:pPr algn="ctr"/>
            <a:endParaRPr lang="zh-CN" altLang="en-US" b="1"/>
          </a:p>
          <a:p>
            <a:pPr algn="ctr"/>
            <a:r>
              <a:rPr lang="zh-CN" altLang="en-US"/>
              <a:t>理解网站的来龙去脉和历史原因，才能更好的技术选型和架构网站</a:t>
            </a:r>
            <a:endParaRPr lang="zh-CN" altLang="en-US"/>
          </a:p>
          <a:p>
            <a:pPr algn="ctr"/>
            <a:endParaRPr lang="zh-CN" altLang="en-US"/>
          </a:p>
          <a:p>
            <a:pPr algn="ctr"/>
            <a:r>
              <a:rPr lang="zh-CN" altLang="en-US"/>
              <a:t>互联网正在并将继续改变这个世界，一切才刚开始，你我正逢其时！</a:t>
            </a:r>
            <a:endParaRPr lang="zh-CN" alt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bldLvl="0" animBg="1" autoUpdateAnimBg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 descr="QQ截图2018020700415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986790" y="983615"/>
            <a:ext cx="10058400" cy="5443855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/>
          <p:cNvGraphicFramePr/>
          <p:nvPr>
            <p:custDataLst>
              <p:tags r:id="rId1"/>
            </p:custDataLst>
          </p:nvPr>
        </p:nvGraphicFramePr>
        <p:xfrm>
          <a:off x="0" y="0"/>
          <a:ext cx="211639" cy="119062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" name="think-cell Slide" r:id="rId2" imgW="12700" imgH="12700" progId="">
                  <p:embed/>
                </p:oleObj>
              </mc:Choice>
              <mc:Fallback>
                <p:oleObj name="think-cell Slide" r:id="rId2" imgW="12700" imgH="12700" progId="">
                  <p:embed/>
                  <p:pic>
                    <p:nvPicPr>
                      <p:cNvPr id="0" name="图片 4096" descr="image4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39" cy="1190624"/>
                      </a:xfrm>
                      <a:prstGeom prst="rect">
                        <a:avLst/>
                      </a:prstGeom>
                      <a:noFill/>
                      <a:ln w="9525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Picture 2" descr="Z:\工作文档03\自如事业部\自如-设计组\谌蓉工作\自如-谌蓉手绘图\IMG_0004.jpg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0" y="0"/>
            <a:ext cx="6422836" cy="6858000"/>
          </a:xfrm>
          <a:prstGeom prst="rect">
            <a:avLst/>
          </a:prstGeom>
          <a:noFill/>
        </p:spPr>
      </p:pic>
      <p:sp>
        <p:nvSpPr>
          <p:cNvPr id="5" name="矩形 4"/>
          <p:cNvSpPr/>
          <p:nvPr>
            <p:custDataLst>
              <p:tags r:id="rId6"/>
            </p:custDataLst>
          </p:nvPr>
        </p:nvSpPr>
        <p:spPr>
          <a:xfrm>
            <a:off x="6671196" y="3214686"/>
            <a:ext cx="5519217" cy="1584172"/>
          </a:xfrm>
          <a:prstGeom prst="rect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0" tIns="60945" rIns="121890" bIns="60945"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" name="TextBox 5"/>
          <p:cNvSpPr txBox="1"/>
          <p:nvPr>
            <p:custDataLst>
              <p:tags r:id="rId7"/>
            </p:custDataLst>
          </p:nvPr>
        </p:nvSpPr>
        <p:spPr>
          <a:xfrm>
            <a:off x="6863193" y="3677547"/>
            <a:ext cx="4991905" cy="820484"/>
          </a:xfrm>
          <a:prstGeom prst="rect">
            <a:avLst/>
          </a:prstGeom>
          <a:noFill/>
        </p:spPr>
        <p:txBody>
          <a:bodyPr wrap="square" lIns="121890" tIns="60945" rIns="121890" bIns="60945" rtlCol="0">
            <a:spAutoFit/>
          </a:bodyPr>
          <a:lstStyle/>
          <a:p>
            <a:r>
              <a:rPr lang="en-US" altLang="zh-CN" sz="45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THANKS</a:t>
            </a:r>
            <a:endParaRPr lang="zh-CN" altLang="en-US" sz="45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829914" y="0"/>
            <a:ext cx="3360499" cy="9310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灯片编号占位符 1"/>
          <p:cNvSpPr>
            <a:spLocks noGrp="1"/>
          </p:cNvSpPr>
          <p:nvPr>
            <p:ph type="sldNum" sz="quarter" idx="12"/>
            <p:custDataLst>
              <p:tags r:id="rId10"/>
            </p:custDataLst>
          </p:nvPr>
        </p:nvSpPr>
        <p:spPr/>
        <p:txBody>
          <a:bodyPr/>
          <a:lstStyle/>
          <a:p>
            <a:fld id="{99884BC9-6CF7-4F5F-90AB-E345396CDAC2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4626610" y="1065530"/>
            <a:ext cx="2418080" cy="7620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ctr"/>
            <a:r>
              <a:rPr lang="zh-CN" altLang="en-US" sz="4400">
                <a:solidFill>
                  <a:schemeClr val="accent4"/>
                </a:solidFill>
              </a:rPr>
              <a:t>基本内容</a:t>
            </a:r>
            <a:endParaRPr lang="zh-CN" altLang="en-US" sz="4400">
              <a:solidFill>
                <a:schemeClr val="accent4"/>
              </a:solidFill>
            </a:endParaRPr>
          </a:p>
        </p:txBody>
      </p:sp>
      <p:sp>
        <p:nvSpPr>
          <p:cNvPr id="8" name="Shape 34"/>
          <p:cNvSpPr>
            <a:spLocks noChangeArrowheads="1"/>
          </p:cNvSpPr>
          <p:nvPr/>
        </p:nvSpPr>
        <p:spPr bwMode="auto">
          <a:xfrm>
            <a:off x="3358515" y="3059430"/>
            <a:ext cx="4699000" cy="514350"/>
          </a:xfrm>
          <a:prstGeom prst="roundRect">
            <a:avLst>
              <a:gd name="adj" fmla="val 20269"/>
            </a:avLst>
          </a:prstGeom>
          <a:solidFill>
            <a:schemeClr val="accent4"/>
          </a:solidFill>
          <a:ln w="9525">
            <a:noFill/>
            <a:round/>
          </a:ln>
          <a:effectLst/>
        </p:spPr>
        <p:txBody>
          <a:bodyPr lIns="0" tIns="0" rIns="0" bIns="0" anchor="ctr"/>
          <a:p>
            <a:pPr algn="ctr" eaLnBrk="0" hangingPunct="0"/>
            <a:r>
              <a:rPr lang="en-US" altLang="zh-CN" sz="2400">
                <a:solidFill>
                  <a:srgbClr val="FFFFFF"/>
                </a:solidFill>
                <a:latin typeface="Helvetica" charset="0"/>
                <a:sym typeface="Helvetica" charset="0"/>
              </a:rPr>
              <a:t>UML</a:t>
            </a:r>
            <a:r>
              <a:rPr lang="zh-CN" altLang="en-US" sz="2400">
                <a:solidFill>
                  <a:srgbClr val="FFFFFF"/>
                </a:solidFill>
                <a:latin typeface="Helvetica" charset="0"/>
                <a:sym typeface="Helvetica" charset="0"/>
              </a:rPr>
              <a:t>与类</a:t>
            </a:r>
            <a:endParaRPr lang="zh-CN" altLang="en-US" sz="2400">
              <a:solidFill>
                <a:srgbClr val="FFFFFF"/>
              </a:solidFill>
              <a:latin typeface="Helvetica" charset="0"/>
              <a:sym typeface="Helvetica" charset="0"/>
            </a:endParaRPr>
          </a:p>
        </p:txBody>
      </p:sp>
      <p:sp>
        <p:nvSpPr>
          <p:cNvPr id="9" name="Shape 34"/>
          <p:cNvSpPr>
            <a:spLocks noChangeArrowheads="1"/>
          </p:cNvSpPr>
          <p:nvPr/>
        </p:nvSpPr>
        <p:spPr bwMode="auto">
          <a:xfrm>
            <a:off x="3358515" y="3994150"/>
            <a:ext cx="4699000" cy="514350"/>
          </a:xfrm>
          <a:prstGeom prst="roundRect">
            <a:avLst>
              <a:gd name="adj" fmla="val 20269"/>
            </a:avLst>
          </a:prstGeom>
          <a:solidFill>
            <a:schemeClr val="accent4"/>
          </a:solidFill>
          <a:ln w="9525">
            <a:noFill/>
            <a:round/>
          </a:ln>
          <a:effectLst/>
        </p:spPr>
        <p:txBody>
          <a:bodyPr lIns="0" tIns="0" rIns="0" bIns="0" anchor="ctr"/>
          <a:p>
            <a:pPr algn="ctr" eaLnBrk="0" hangingPunct="0"/>
            <a:r>
              <a:rPr lang="zh-CN" altLang="en-US" sz="2400">
                <a:solidFill>
                  <a:srgbClr val="FFFFFF"/>
                </a:solidFill>
                <a:latin typeface="Helvetica" charset="0"/>
                <a:sym typeface="Helvetica" charset="0"/>
              </a:rPr>
              <a:t>设计原则与设计模式</a:t>
            </a:r>
            <a:endParaRPr lang="zh-CN" altLang="en-US" sz="2400">
              <a:solidFill>
                <a:srgbClr val="FFFFFF"/>
              </a:solidFill>
              <a:latin typeface="Helvetica" charset="0"/>
              <a:sym typeface="Helvetica" charset="0"/>
            </a:endParaRPr>
          </a:p>
        </p:txBody>
      </p:sp>
      <p:sp>
        <p:nvSpPr>
          <p:cNvPr id="10" name="Shape 34"/>
          <p:cNvSpPr>
            <a:spLocks noChangeArrowheads="1"/>
          </p:cNvSpPr>
          <p:nvPr/>
        </p:nvSpPr>
        <p:spPr bwMode="auto">
          <a:xfrm>
            <a:off x="3358515" y="4936490"/>
            <a:ext cx="4699000" cy="514350"/>
          </a:xfrm>
          <a:prstGeom prst="roundRect">
            <a:avLst>
              <a:gd name="adj" fmla="val 20269"/>
            </a:avLst>
          </a:prstGeom>
          <a:solidFill>
            <a:schemeClr val="accent4"/>
          </a:solidFill>
          <a:ln w="9525">
            <a:noFill/>
            <a:round/>
          </a:ln>
          <a:effectLst/>
        </p:spPr>
        <p:txBody>
          <a:bodyPr lIns="0" tIns="0" rIns="0" bIns="0" anchor="ctr"/>
          <a:p>
            <a:pPr algn="ctr" eaLnBrk="0" hangingPunct="0"/>
            <a:r>
              <a:rPr lang="zh-CN" sz="2400">
                <a:solidFill>
                  <a:srgbClr val="FFFFFF"/>
                </a:solidFill>
                <a:latin typeface="Helvetica" charset="0"/>
                <a:sym typeface="Helvetica" charset="0"/>
              </a:rPr>
              <a:t>总结</a:t>
            </a:r>
            <a:endParaRPr lang="zh-CN" sz="2400">
              <a:solidFill>
                <a:srgbClr val="FFFFFF"/>
              </a:solidFill>
              <a:latin typeface="Helvetica" charset="0"/>
              <a:sym typeface="Helvetica" charset="0"/>
            </a:endParaRPr>
          </a:p>
        </p:txBody>
      </p:sp>
      <p:sp>
        <p:nvSpPr>
          <p:cNvPr id="4" name="Shape 34"/>
          <p:cNvSpPr>
            <a:spLocks noChangeArrowheads="1"/>
          </p:cNvSpPr>
          <p:nvPr/>
        </p:nvSpPr>
        <p:spPr bwMode="auto">
          <a:xfrm>
            <a:off x="3358515" y="2186305"/>
            <a:ext cx="4699000" cy="514350"/>
          </a:xfrm>
          <a:prstGeom prst="roundRect">
            <a:avLst>
              <a:gd name="adj" fmla="val 20269"/>
            </a:avLst>
          </a:prstGeom>
          <a:solidFill>
            <a:schemeClr val="accent4"/>
          </a:solidFill>
          <a:ln w="9525">
            <a:noFill/>
            <a:round/>
          </a:ln>
          <a:effectLst/>
        </p:spPr>
        <p:txBody>
          <a:bodyPr lIns="0" tIns="0" rIns="0" bIns="0" anchor="ctr"/>
          <a:p>
            <a:pPr algn="ctr" eaLnBrk="0" hangingPunct="0"/>
            <a:endParaRPr lang="zh-CN" altLang="en-US" sz="2400">
              <a:solidFill>
                <a:srgbClr val="FFFFFF"/>
              </a:solidFill>
              <a:latin typeface="Helvetica" charset="0"/>
              <a:sym typeface="Helvetica" charset="0"/>
            </a:endParaRPr>
          </a:p>
          <a:p>
            <a:pPr algn="ctr" eaLnBrk="0" hangingPunct="0"/>
            <a:r>
              <a:rPr lang="zh-CN" altLang="en-US" sz="2400">
                <a:solidFill>
                  <a:srgbClr val="FFFFFF"/>
                </a:solidFill>
                <a:latin typeface="Helvetica" charset="0"/>
                <a:sym typeface="Helvetica" charset="0"/>
              </a:rPr>
              <a:t>责任链模式</a:t>
            </a:r>
            <a:r>
              <a:rPr lang="en-US" altLang="zh-CN" sz="2400">
                <a:solidFill>
                  <a:srgbClr val="FFFFFF"/>
                </a:solidFill>
                <a:latin typeface="Helvetica" charset="0"/>
                <a:sym typeface="Helvetica" charset="0"/>
              </a:rPr>
              <a:t>&amp;</a:t>
            </a:r>
            <a:r>
              <a:rPr lang="zh-CN" altLang="en-US" sz="2400">
                <a:solidFill>
                  <a:srgbClr val="FFFFFF"/>
                </a:solidFill>
                <a:latin typeface="Helvetica" charset="0"/>
                <a:sym typeface="Helvetica" charset="0"/>
              </a:rPr>
              <a:t>解释器模式</a:t>
            </a:r>
            <a:endParaRPr lang="zh-CN" altLang="en-US" sz="2400">
              <a:solidFill>
                <a:srgbClr val="FFFFFF"/>
              </a:solidFill>
              <a:latin typeface="Helvetica" charset="0"/>
              <a:sym typeface="Helvetica" charset="0"/>
            </a:endParaRPr>
          </a:p>
          <a:p>
            <a:pPr algn="ctr" eaLnBrk="0" hangingPunct="0"/>
            <a:endParaRPr lang="en-US" altLang="zh-CN" sz="2400">
              <a:solidFill>
                <a:srgbClr val="FFFFFF"/>
              </a:solidFill>
              <a:latin typeface="Helvetica" charset="0"/>
              <a:sym typeface="Helvetica" charset="0"/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bldLvl="0" animBg="1" autoUpdateAnimBg="0"/>
      <p:bldP spid="9" grpId="0" bldLvl="0" animBg="1" autoUpdateAnimBg="0"/>
      <p:bldP spid="10" grpId="0" bldLvl="0" animBg="1" autoUpdateAnimBg="0"/>
      <p:bldP spid="4" grpId="0" bldLvl="0" animBg="1" autoUpdateAnimBg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think-cell Slide" r:id="rId2" imgW="12700" imgH="12700" progId="">
                  <p:embed/>
                </p:oleObj>
              </mc:Choice>
              <mc:Fallback>
                <p:oleObj name="think-cell Slide" r:id="rId2" imgW="12700" imgH="12700" progId="">
                  <p:embed/>
                  <p:pic>
                    <p:nvPicPr>
                      <p:cNvPr id="0" name="图片 2048" descr="image4"/>
                      <p:cNvPicPr>
                        <a:picLocks noChangeAspect="1"/>
                      </p:cNvPicPr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 w="9525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3"/>
          <p:cNvSpPr txBox="1">
            <a:spLocks noGrp="1" noChangeArrowheads="1"/>
          </p:cNvSpPr>
          <p:nvPr>
            <p:ph type="ctrTitle"/>
            <p:custDataLst>
              <p:tags r:id="rId4"/>
            </p:custDataLst>
          </p:nvPr>
        </p:nvSpPr>
        <p:spPr>
          <a:xfrm>
            <a:off x="6706422" y="3489960"/>
            <a:ext cx="5308756" cy="105918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 algn="ctr">
              <a:tabLst>
                <a:tab pos="82550" algn="l"/>
              </a:tabLst>
              <a:defRPr/>
            </a:pPr>
            <a:r>
              <a:rPr kumimoji="0" lang="zh-CN" altLang="en-US" sz="4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sym typeface="+mn-ea"/>
              </a:rPr>
              <a:t>责任链</a:t>
            </a:r>
            <a:r>
              <a:rPr kumimoji="0" lang="en-US" altLang="zh-CN" sz="4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sym typeface="+mn-ea"/>
              </a:rPr>
              <a:t>&amp;</a:t>
            </a:r>
            <a:r>
              <a:rPr kumimoji="0" lang="zh-CN" altLang="en-US" sz="4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sym typeface="+mn-ea"/>
              </a:rPr>
              <a:t>解释器</a:t>
            </a:r>
            <a:endParaRPr kumimoji="0" lang="zh-CN" altLang="en-US" sz="48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sym typeface="+mn-e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/>
          <p:cNvSpPr txBox="1"/>
          <p:nvPr/>
        </p:nvSpPr>
        <p:spPr>
          <a:xfrm>
            <a:off x="861695" y="737235"/>
            <a:ext cx="982980" cy="92202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 algn="l"/>
            <a:r>
              <a:rPr lang="zh-CN" altLang="en-US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  <a:latin typeface="华文宋体" charset="-122"/>
                <a:ea typeface="华文宋体" charset="-122"/>
                <a:sym typeface="+mn-ea"/>
              </a:rPr>
              <a:t>责任链</a:t>
            </a:r>
            <a:r>
              <a:rPr lang="en-US" altLang="zh-CN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  <a:latin typeface="华文宋体" charset="-122"/>
                <a:ea typeface="华文宋体" charset="-122"/>
                <a:sym typeface="+mn-ea"/>
              </a:rPr>
              <a:t>:</a:t>
            </a:r>
            <a:endParaRPr lang="zh-CN" altLang="en-US">
              <a:latin typeface="Arial" panose="020B0604020202020204" pitchFamily="34" charset="0"/>
              <a:ea typeface="宋体" panose="02010600030101010101" pitchFamily="2" charset="-122"/>
            </a:endParaRPr>
          </a:p>
          <a:p>
            <a:pPr algn="l"/>
            <a:endParaRPr lang="en-US" altLang="zh-CN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  <a:latin typeface="华文宋体" charset="-122"/>
              <a:ea typeface="华文宋体" charset="-122"/>
              <a:sym typeface="+mn-ea"/>
            </a:endParaRPr>
          </a:p>
          <a:p>
            <a:pPr algn="l"/>
            <a:r>
              <a:rPr lang="en-US" altLang="zh-CN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  <a:latin typeface="华文宋体" charset="-122"/>
                <a:ea typeface="华文宋体" charset="-122"/>
                <a:sym typeface="+mn-ea"/>
              </a:rPr>
              <a:t>     </a:t>
            </a:r>
            <a:endParaRPr lang="zh-CN" altLang="en-US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  <a:latin typeface="华文宋体" charset="-122"/>
              <a:ea typeface="华文宋体" charset="-122"/>
              <a:sym typeface="+mn-ea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4791710" y="5685790"/>
            <a:ext cx="285623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/>
              <a:t>     	</a:t>
            </a:r>
            <a:r>
              <a:rPr lang="zh-CN" altLang="en-US"/>
              <a:t>责任链模式</a:t>
            </a:r>
            <a:endParaRPr lang="zh-CN" altLang="en-US"/>
          </a:p>
        </p:txBody>
      </p:sp>
      <p:pic>
        <p:nvPicPr>
          <p:cNvPr id="2" name="图片 1" descr="责任链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065530" y="15875"/>
            <a:ext cx="10058400" cy="682625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/>
          <p:cNvSpPr txBox="1"/>
          <p:nvPr/>
        </p:nvSpPr>
        <p:spPr>
          <a:xfrm>
            <a:off x="861695" y="737235"/>
            <a:ext cx="982980" cy="92202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 algn="l"/>
            <a:r>
              <a:rPr lang="zh-CN" altLang="en-US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  <a:latin typeface="华文宋体" charset="-122"/>
                <a:ea typeface="华文宋体" charset="-122"/>
                <a:sym typeface="+mn-ea"/>
              </a:rPr>
              <a:t>解释器</a:t>
            </a:r>
            <a:r>
              <a:rPr lang="en-US" altLang="zh-CN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  <a:latin typeface="华文宋体" charset="-122"/>
                <a:ea typeface="华文宋体" charset="-122"/>
                <a:sym typeface="+mn-ea"/>
              </a:rPr>
              <a:t>:</a:t>
            </a:r>
            <a:endParaRPr lang="zh-CN" altLang="en-US">
              <a:latin typeface="Arial" panose="020B0604020202020204" pitchFamily="34" charset="0"/>
              <a:ea typeface="宋体" panose="02010600030101010101" pitchFamily="2" charset="-122"/>
            </a:endParaRPr>
          </a:p>
          <a:p>
            <a:pPr algn="l"/>
            <a:endParaRPr lang="en-US" altLang="zh-CN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  <a:latin typeface="华文宋体" charset="-122"/>
              <a:ea typeface="华文宋体" charset="-122"/>
              <a:sym typeface="+mn-ea"/>
            </a:endParaRPr>
          </a:p>
          <a:p>
            <a:pPr algn="l"/>
            <a:r>
              <a:rPr lang="en-US" altLang="zh-CN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  <a:latin typeface="华文宋体" charset="-122"/>
                <a:ea typeface="华文宋体" charset="-122"/>
                <a:sym typeface="+mn-ea"/>
              </a:rPr>
              <a:t>     </a:t>
            </a:r>
            <a:endParaRPr lang="zh-CN" altLang="en-US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  <a:latin typeface="华文宋体" charset="-122"/>
              <a:ea typeface="华文宋体" charset="-122"/>
              <a:sym typeface="+mn-ea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4791710" y="5685790"/>
            <a:ext cx="315849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/>
              <a:t>     	</a:t>
            </a:r>
            <a:r>
              <a:rPr lang="zh-CN" altLang="en-US"/>
              <a:t>解释器模式</a:t>
            </a:r>
            <a:endParaRPr lang="zh-CN" altLang="en-US"/>
          </a:p>
        </p:txBody>
      </p:sp>
      <p:pic>
        <p:nvPicPr>
          <p:cNvPr id="2" name="图片 1" descr="解释器模式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976120" y="1152525"/>
            <a:ext cx="8237855" cy="4552315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/>
          <p:cNvSpPr txBox="1"/>
          <p:nvPr/>
        </p:nvSpPr>
        <p:spPr>
          <a:xfrm>
            <a:off x="590550" y="1061720"/>
            <a:ext cx="754380" cy="92202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algn="l"/>
            <a:r>
              <a:rPr lang="zh-CN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  <a:latin typeface="华文宋体" charset="-122"/>
                <a:ea typeface="华文宋体" charset="-122"/>
                <a:sym typeface="+mn-ea"/>
              </a:rPr>
              <a:t>优缺</a:t>
            </a:r>
            <a:r>
              <a:rPr lang="en-US" altLang="zh-CN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  <a:latin typeface="华文宋体" charset="-122"/>
                <a:ea typeface="华文宋体" charset="-122"/>
                <a:sym typeface="+mn-ea"/>
              </a:rPr>
              <a:t>:</a:t>
            </a:r>
            <a:endParaRPr lang="zh-CN" altLang="en-US">
              <a:latin typeface="Arial" panose="020B0604020202020204" pitchFamily="34" charset="0"/>
              <a:ea typeface="宋体" panose="02010600030101010101" pitchFamily="2" charset="-122"/>
            </a:endParaRPr>
          </a:p>
          <a:p>
            <a:pPr algn="l"/>
            <a:endParaRPr lang="en-US" altLang="zh-CN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  <a:latin typeface="华文宋体" charset="-122"/>
              <a:ea typeface="华文宋体" charset="-122"/>
              <a:sym typeface="+mn-ea"/>
            </a:endParaRPr>
          </a:p>
          <a:p>
            <a:pPr algn="l"/>
            <a:r>
              <a:rPr lang="en-US" altLang="zh-CN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  <a:latin typeface="华文宋体" charset="-122"/>
                <a:ea typeface="华文宋体" charset="-122"/>
                <a:sym typeface="+mn-ea"/>
              </a:rPr>
              <a:t>     </a:t>
            </a:r>
            <a:endParaRPr lang="zh-CN" altLang="en-US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  <a:latin typeface="华文宋体" charset="-122"/>
              <a:ea typeface="华文宋体" charset="-122"/>
              <a:sym typeface="+mn-ea"/>
            </a:endParaRPr>
          </a:p>
        </p:txBody>
      </p:sp>
      <p:sp>
        <p:nvSpPr>
          <p:cNvPr id="9" name="Shape 34"/>
          <p:cNvSpPr>
            <a:spLocks noChangeArrowheads="1"/>
          </p:cNvSpPr>
          <p:nvPr/>
        </p:nvSpPr>
        <p:spPr bwMode="auto">
          <a:xfrm>
            <a:off x="3541395" y="1427480"/>
            <a:ext cx="3601720" cy="496570"/>
          </a:xfrm>
          <a:prstGeom prst="roundRect">
            <a:avLst>
              <a:gd name="adj" fmla="val 20269"/>
            </a:avLst>
          </a:prstGeom>
          <a:solidFill>
            <a:schemeClr val="accent4"/>
          </a:solidFill>
          <a:ln w="9525">
            <a:noFill/>
            <a:round/>
          </a:ln>
          <a:effectLst/>
        </p:spPr>
        <p:txBody>
          <a:bodyPr lIns="0" tIns="0" rIns="0" bIns="0" anchor="ctr"/>
          <a:p>
            <a:pPr algn="ctr" eaLnBrk="0" hangingPunct="0"/>
            <a:r>
              <a:rPr lang="zh-CN" sz="2400">
                <a:solidFill>
                  <a:srgbClr val="FFFFFF"/>
                </a:solidFill>
                <a:latin typeface="Helvetica" charset="0"/>
                <a:sym typeface="Helvetica" charset="0"/>
              </a:rPr>
              <a:t>优缺点</a:t>
            </a:r>
            <a:endParaRPr lang="zh-CN" sz="2400">
              <a:solidFill>
                <a:srgbClr val="FFFFFF"/>
              </a:solidFill>
              <a:latin typeface="Helvetica" charset="0"/>
              <a:sym typeface="Helvetica" charset="0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1945005" y="2567940"/>
            <a:ext cx="7990205" cy="119888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 lvl="0" indent="0"/>
            <a:r>
              <a:rPr lang="zh-CN" altLang="en-US" dirty="0">
                <a:latin typeface="华文宋体" charset="-122"/>
                <a:ea typeface="华文宋体" charset="-122"/>
                <a:sym typeface="+mn-ea"/>
              </a:rPr>
              <a:t>责任链  优点</a:t>
            </a:r>
            <a:r>
              <a:rPr lang="en-US" altLang="zh-CN" dirty="0">
                <a:latin typeface="华文宋体" charset="-122"/>
                <a:ea typeface="华文宋体" charset="-122"/>
                <a:sym typeface="+mn-ea"/>
              </a:rPr>
              <a:t>:</a:t>
            </a:r>
            <a:r>
              <a:rPr lang="zh-CN" altLang="en-US" dirty="0">
                <a:latin typeface="华文宋体" charset="-122"/>
                <a:ea typeface="华文宋体" charset="-122"/>
                <a:sym typeface="+mn-ea"/>
              </a:rPr>
              <a:t>请求发送者和接受者解耦			</a:t>
            </a:r>
            <a:endParaRPr lang="zh-CN" altLang="en-US" dirty="0">
              <a:latin typeface="华文宋体" charset="-122"/>
              <a:ea typeface="华文宋体" charset="-122"/>
              <a:sym typeface="+mn-ea"/>
            </a:endParaRPr>
          </a:p>
          <a:p>
            <a:pPr lvl="0" indent="0"/>
            <a:r>
              <a:rPr lang="en-US" altLang="zh-CN" dirty="0">
                <a:latin typeface="华文宋体" charset="-122"/>
                <a:ea typeface="华文宋体" charset="-122"/>
                <a:sym typeface="+mn-ea"/>
              </a:rPr>
              <a:t>	</a:t>
            </a:r>
            <a:r>
              <a:rPr lang="zh-CN" altLang="en-US" dirty="0">
                <a:latin typeface="华文宋体" charset="-122"/>
                <a:ea typeface="华文宋体" charset="-122"/>
                <a:sym typeface="+mn-ea"/>
              </a:rPr>
              <a:t>缺点:不容易观察运行时的特征，有碍除错</a:t>
            </a:r>
            <a:endParaRPr lang="zh-CN" altLang="en-US" dirty="0">
              <a:latin typeface="华文宋体" charset="-122"/>
              <a:ea typeface="华文宋体" charset="-122"/>
              <a:sym typeface="+mn-ea"/>
            </a:endParaRPr>
          </a:p>
          <a:p>
            <a:pPr lvl="0" indent="0"/>
            <a:r>
              <a:rPr lang="zh-CN" altLang="en-US" dirty="0">
                <a:latin typeface="华文宋体" charset="-122"/>
                <a:ea typeface="华文宋体" charset="-122"/>
                <a:sym typeface="+mn-ea"/>
              </a:rPr>
              <a:t>解释器</a:t>
            </a:r>
            <a:r>
              <a:rPr lang="en-US" altLang="zh-CN" dirty="0">
                <a:latin typeface="华文宋体" charset="-122"/>
                <a:ea typeface="华文宋体" charset="-122"/>
                <a:sym typeface="+mn-ea"/>
              </a:rPr>
              <a:t>	</a:t>
            </a:r>
            <a:r>
              <a:rPr lang="zh-CN" altLang="en-US" dirty="0">
                <a:latin typeface="华文宋体" charset="-122"/>
                <a:ea typeface="华文宋体" charset="-122"/>
                <a:sym typeface="+mn-ea"/>
              </a:rPr>
              <a:t>优点</a:t>
            </a:r>
            <a:r>
              <a:rPr lang="en-US" altLang="zh-CN" dirty="0">
                <a:latin typeface="华文宋体" charset="-122"/>
                <a:ea typeface="华文宋体" charset="-122"/>
                <a:sym typeface="+mn-ea"/>
              </a:rPr>
              <a:t>:</a:t>
            </a:r>
            <a:r>
              <a:rPr lang="zh-CN" altLang="en-US" dirty="0">
                <a:latin typeface="华文宋体" charset="-122"/>
                <a:ea typeface="华文宋体" charset="-122"/>
                <a:sym typeface="+mn-ea"/>
              </a:rPr>
              <a:t>扩展语法方便</a:t>
            </a:r>
            <a:endParaRPr lang="zh-CN" altLang="en-US" dirty="0">
              <a:latin typeface="华文宋体" charset="-122"/>
              <a:ea typeface="华文宋体" charset="-122"/>
              <a:sym typeface="+mn-ea"/>
            </a:endParaRPr>
          </a:p>
          <a:p>
            <a:pPr lvl="0" indent="0"/>
            <a:r>
              <a:rPr lang="en-US" altLang="zh-CN" dirty="0">
                <a:latin typeface="华文宋体" charset="-122"/>
                <a:ea typeface="华文宋体" charset="-122"/>
                <a:sym typeface="+mn-ea"/>
              </a:rPr>
              <a:t>	</a:t>
            </a:r>
            <a:r>
              <a:rPr lang="zh-CN" altLang="en-US" dirty="0">
                <a:latin typeface="华文宋体" charset="-122"/>
                <a:ea typeface="华文宋体" charset="-122"/>
                <a:sym typeface="+mn-ea"/>
              </a:rPr>
              <a:t>缺点</a:t>
            </a:r>
            <a:r>
              <a:rPr lang="en-US" altLang="zh-CN" dirty="0">
                <a:latin typeface="华文宋体" charset="-122"/>
                <a:ea typeface="华文宋体" charset="-122"/>
                <a:sym typeface="+mn-ea"/>
              </a:rPr>
              <a:t>:</a:t>
            </a:r>
            <a:r>
              <a:rPr lang="zh-CN" altLang="en-US" dirty="0">
                <a:latin typeface="华文宋体" charset="-122"/>
                <a:ea typeface="华文宋体" charset="-122"/>
                <a:sym typeface="+mn-ea"/>
              </a:rPr>
              <a:t>语法规则复杂的时候，类太多，不断递归，模式复杂。</a:t>
            </a:r>
            <a:endParaRPr lang="zh-CN" altLang="en-US" dirty="0">
              <a:latin typeface="华文宋体" charset="-122"/>
              <a:ea typeface="华文宋体" charset="-122"/>
              <a:sym typeface="+mn-ea"/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bldLvl="0" animBg="1" autoUpdateAnimBg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think-cell Slide" r:id="rId2" imgW="12700" imgH="12700" progId="">
                  <p:embed/>
                </p:oleObj>
              </mc:Choice>
              <mc:Fallback>
                <p:oleObj name="think-cell Slide" r:id="rId2" imgW="12700" imgH="12700" progId="">
                  <p:embed/>
                  <p:pic>
                    <p:nvPicPr>
                      <p:cNvPr id="0" name="图片 2048" descr="image4"/>
                      <p:cNvPicPr>
                        <a:picLocks noChangeAspect="1"/>
                      </p:cNvPicPr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 w="9525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3"/>
          <p:cNvSpPr txBox="1">
            <a:spLocks noGrp="1" noChangeArrowheads="1"/>
          </p:cNvSpPr>
          <p:nvPr>
            <p:ph type="ctrTitle"/>
            <p:custDataLst>
              <p:tags r:id="rId4"/>
            </p:custDataLst>
          </p:nvPr>
        </p:nvSpPr>
        <p:spPr>
          <a:xfrm>
            <a:off x="6706422" y="3489960"/>
            <a:ext cx="5308756" cy="105918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 algn="ctr">
              <a:tabLst>
                <a:tab pos="82550" algn="l"/>
              </a:tabLst>
              <a:defRPr/>
            </a:pPr>
            <a:r>
              <a:rPr kumimoji="0" lang="en-US" altLang="zh-CN" sz="4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sym typeface="+mn-ea"/>
              </a:rPr>
              <a:t>UML</a:t>
            </a:r>
            <a:r>
              <a:rPr kumimoji="0" lang="zh-CN" altLang="en-US" sz="4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sym typeface="+mn-ea"/>
              </a:rPr>
              <a:t>与类</a:t>
            </a:r>
            <a:endParaRPr kumimoji="0" lang="zh-CN" altLang="en-US" sz="48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sym typeface="+mn-e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框 4"/>
          <p:cNvSpPr txBox="1"/>
          <p:nvPr/>
        </p:nvSpPr>
        <p:spPr>
          <a:xfrm>
            <a:off x="348615" y="1052830"/>
            <a:ext cx="754380" cy="92202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 algn="l"/>
            <a:r>
              <a:rPr lang="zh-CN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  <a:latin typeface="华文宋体" charset="-122"/>
                <a:ea typeface="华文宋体" charset="-122"/>
                <a:sym typeface="+mn-ea"/>
              </a:rPr>
              <a:t>示例</a:t>
            </a:r>
            <a:r>
              <a:rPr lang="en-US" altLang="zh-CN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  <a:latin typeface="华文宋体" charset="-122"/>
                <a:ea typeface="华文宋体" charset="-122"/>
                <a:sym typeface="+mn-ea"/>
              </a:rPr>
              <a:t>:</a:t>
            </a:r>
            <a:endParaRPr lang="zh-CN" altLang="en-US">
              <a:latin typeface="Arial" panose="020B0604020202020204" pitchFamily="34" charset="0"/>
              <a:ea typeface="宋体" panose="02010600030101010101" pitchFamily="2" charset="-122"/>
            </a:endParaRPr>
          </a:p>
          <a:p>
            <a:pPr algn="l"/>
            <a:endParaRPr lang="en-US" altLang="zh-CN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  <a:latin typeface="华文宋体" charset="-122"/>
              <a:ea typeface="华文宋体" charset="-122"/>
              <a:sym typeface="+mn-ea"/>
            </a:endParaRPr>
          </a:p>
          <a:p>
            <a:pPr algn="l"/>
            <a:r>
              <a:rPr lang="en-US" altLang="zh-CN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  <a:latin typeface="华文宋体" charset="-122"/>
                <a:ea typeface="华文宋体" charset="-122"/>
                <a:sym typeface="+mn-ea"/>
              </a:rPr>
              <a:t>     </a:t>
            </a:r>
            <a:endParaRPr lang="zh-CN" altLang="en-US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  <a:latin typeface="华文宋体" charset="-122"/>
              <a:ea typeface="华文宋体" charset="-122"/>
              <a:sym typeface="+mn-ea"/>
            </a:endParaRPr>
          </a:p>
        </p:txBody>
      </p:sp>
      <p:pic>
        <p:nvPicPr>
          <p:cNvPr id="2" name="图片 1" descr="UML 和类的关系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065530" y="486410"/>
            <a:ext cx="10058400" cy="588518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think-cell Slide" r:id="rId2" imgW="12700" imgH="12700" progId="">
                  <p:embed/>
                </p:oleObj>
              </mc:Choice>
              <mc:Fallback>
                <p:oleObj name="think-cell Slide" r:id="rId2" imgW="12700" imgH="12700" progId="">
                  <p:embed/>
                  <p:pic>
                    <p:nvPicPr>
                      <p:cNvPr id="0" name="图片 2048" descr="image4"/>
                      <p:cNvPicPr>
                        <a:picLocks noChangeAspect="1"/>
                      </p:cNvPicPr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 w="9525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3"/>
          <p:cNvSpPr txBox="1">
            <a:spLocks noGrp="1" noChangeArrowheads="1"/>
          </p:cNvSpPr>
          <p:nvPr>
            <p:ph type="ctrTitle"/>
            <p:custDataLst>
              <p:tags r:id="rId4"/>
            </p:custDataLst>
          </p:nvPr>
        </p:nvSpPr>
        <p:spPr>
          <a:xfrm>
            <a:off x="6706422" y="3489960"/>
            <a:ext cx="5308756" cy="105918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 algn="ctr">
              <a:tabLst>
                <a:tab pos="82550" algn="l"/>
              </a:tabLst>
              <a:defRPr/>
            </a:pPr>
            <a:r>
              <a:rPr kumimoji="0" lang="zh-CN" altLang="en-US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sym typeface="+mn-ea"/>
              </a:rPr>
              <a:t>设计原则与设计模式</a:t>
            </a:r>
            <a:endParaRPr kumimoji="0" lang="zh-CN" altLang="en-US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sym typeface="+mn-e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10.xml><?xml version="1.0" encoding="utf-8"?>
<p:tagLst xmlns:p="http://schemas.openxmlformats.org/presentationml/2006/main">
  <p:tag name="THINKCELLSHAPEDONOTDELETE" val="pa2eK_IXmdECxUmsvVPIOtA"/>
</p:tagLst>
</file>

<file path=ppt/tags/tag11.xml><?xml version="1.0" encoding="utf-8"?>
<p:tagLst xmlns:p="http://schemas.openxmlformats.org/presentationml/2006/main">
  <p:tag name="THINKCELLSHAPEDONOTDELETE" val="thinkcellActiveDocDoNotDelete"/>
</p:tagLst>
</file>

<file path=ppt/tags/tag12.xml><?xml version="1.0" encoding="utf-8"?>
<p:tagLst xmlns:p="http://schemas.openxmlformats.org/presentationml/2006/main">
  <p:tag name="THINKCELLSHAPEDONOTDELETE" val="pUMZG6iX3KUag492xHa0GAw"/>
</p:tagLst>
</file>

<file path=ppt/tags/tag13.xml><?xml version="1.0" encoding="utf-8"?>
<p:tagLst xmlns:p="http://schemas.openxmlformats.org/presentationml/2006/main">
  <p:tag name="THINKCELLSHAPEDONOTDELETE" val="pJVWdX5dSskOKG8gqG5HpRg"/>
</p:tagLst>
</file>

<file path=ppt/tags/tag14.xml><?xml version="1.0" encoding="utf-8"?>
<p:tagLst xmlns:p="http://schemas.openxmlformats.org/presentationml/2006/main">
  <p:tag name="THINKCELLSHAPEDONOTDELETE" val="pjOF.dPWJn0maiSlRKFYwiA"/>
</p:tagLst>
</file>

<file path=ppt/tags/tag15.xml><?xml version="1.0" encoding="utf-8"?>
<p:tagLst xmlns:p="http://schemas.openxmlformats.org/presentationml/2006/main">
  <p:tag name="THINKCELLSHAPEDONOTDELETE" val="pfJGcy_bWpEWlq4k9V8V6jQ"/>
</p:tagLst>
</file>

<file path=ppt/tags/tag16.xml><?xml version="1.0" encoding="utf-8"?>
<p:tagLst xmlns:p="http://schemas.openxmlformats.org/presentationml/2006/main">
  <p:tag name="THINKCELLSHAPEDONOTDELETE" val="p4PvOjXMOp0OXVfN3.0dsDg"/>
</p:tagLst>
</file>

<file path=ppt/tags/tag2.xml><?xml version="1.0" encoding="utf-8"?>
<p:tagLst xmlns:p="http://schemas.openxmlformats.org/presentationml/2006/main">
  <p:tag name="THINKCELLSHAPEDONOTDELETE" val="pa2eK_IXmdECxUmsvVPIOtA"/>
</p:tagLst>
</file>

<file path=ppt/tags/tag3.xml><?xml version="1.0" encoding="utf-8"?>
<p:tagLst xmlns:p="http://schemas.openxmlformats.org/presentationml/2006/main">
  <p:tag name="THINKCELLSHAPEDONOTDELETE" val="thinkcellActiveDocDoNotDelete"/>
</p:tagLst>
</file>

<file path=ppt/tags/tag4.xml><?xml version="1.0" encoding="utf-8"?>
<p:tagLst xmlns:p="http://schemas.openxmlformats.org/presentationml/2006/main">
  <p:tag name="THINKCELLSHAPEDONOTDELETE" val="pa2eK_IXmdECxUmsvVPIOtA"/>
</p:tagLst>
</file>

<file path=ppt/tags/tag5.xml><?xml version="1.0" encoding="utf-8"?>
<p:tagLst xmlns:p="http://schemas.openxmlformats.org/presentationml/2006/main">
  <p:tag name="THINKCELLSHAPEDONOTDELETE" val="thinkcellActiveDocDoNotDelete"/>
</p:tagLst>
</file>

<file path=ppt/tags/tag6.xml><?xml version="1.0" encoding="utf-8"?>
<p:tagLst xmlns:p="http://schemas.openxmlformats.org/presentationml/2006/main">
  <p:tag name="THINKCELLSHAPEDONOTDELETE" val="pa2eK_IXmdECxUmsvVPIOtA"/>
</p:tagLst>
</file>

<file path=ppt/tags/tag7.xml><?xml version="1.0" encoding="utf-8"?>
<p:tagLst xmlns:p="http://schemas.openxmlformats.org/presentationml/2006/main">
  <p:tag name="THINKCELLSHAPEDONOTDELETE" val="thinkcellActiveDocDoNotDelete"/>
</p:tagLst>
</file>

<file path=ppt/tags/tag8.xml><?xml version="1.0" encoding="utf-8"?>
<p:tagLst xmlns:p="http://schemas.openxmlformats.org/presentationml/2006/main">
  <p:tag name="THINKCELLSHAPEDONOTDELETE" val="pa2eK_IXmdECxUmsvVPIOtA"/>
</p:tagLst>
</file>

<file path=ppt/tags/tag9.xml><?xml version="1.0" encoding="utf-8"?>
<p:tagLst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1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1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49</Words>
  <Application>WPS 演示</Application>
  <PresentationFormat>自定义</PresentationFormat>
  <Paragraphs>92</Paragraphs>
  <Slides>17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0</vt:i4>
      </vt:variant>
      <vt:variant>
        <vt:lpstr>幻灯片标题</vt:lpstr>
      </vt:variant>
      <vt:variant>
        <vt:i4>17</vt:i4>
      </vt:variant>
    </vt:vector>
  </HeadingPairs>
  <TitlesOfParts>
    <vt:vector size="26" baseType="lpstr">
      <vt:lpstr>Arial</vt:lpstr>
      <vt:lpstr>宋体</vt:lpstr>
      <vt:lpstr>Wingdings</vt:lpstr>
      <vt:lpstr>微软雅黑</vt:lpstr>
      <vt:lpstr>Helvetica</vt:lpstr>
      <vt:lpstr>华文宋体</vt:lpstr>
      <vt:lpstr>Calibri</vt:lpstr>
      <vt:lpstr>Arial Unicode MS</vt:lpstr>
      <vt:lpstr>Office 主题</vt:lpstr>
      <vt:lpstr>设计模式</vt:lpstr>
      <vt:lpstr>PowerPoint 演示文稿</vt:lpstr>
      <vt:lpstr>责任链和</vt:lpstr>
      <vt:lpstr>PowerPoint 演示文稿</vt:lpstr>
      <vt:lpstr>PowerPoint 演示文稿</vt:lpstr>
      <vt:lpstr>PowerPoint 演示文稿</vt:lpstr>
      <vt:lpstr>UML与类</vt:lpstr>
      <vt:lpstr>PowerPoint 演示文稿</vt:lpstr>
      <vt:lpstr>设计原则与设计模式</vt:lpstr>
      <vt:lpstr>PowerPoint 演示文稿</vt:lpstr>
      <vt:lpstr>总结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KR模板</dc:title>
  <dc:creator>yangxin</dc:creator>
  <cp:lastModifiedBy>MindHacks</cp:lastModifiedBy>
  <cp:revision>1452</cp:revision>
  <dcterms:created xsi:type="dcterms:W3CDTF">2016-01-06T01:28:00Z</dcterms:created>
  <dcterms:modified xsi:type="dcterms:W3CDTF">2018-02-06T16:42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0.1.0.6930</vt:lpwstr>
  </property>
</Properties>
</file>